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</p:sldMasterIdLst>
  <p:notesMasterIdLst>
    <p:notesMasterId r:id="rId8"/>
  </p:notesMasterIdLst>
  <p:sldIdLst>
    <p:sldId id="409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84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ie Phipps" userId="e4a102f2-4ce0-4074-a3a5-5dfcbc0f6262" providerId="ADAL" clId="{2B336C00-01BA-44AF-A0C8-66AD9FAE6438}"/>
    <pc:docChg chg="custSel delSld modSld">
      <pc:chgData name="Stephanie Phipps" userId="e4a102f2-4ce0-4074-a3a5-5dfcbc0f6262" providerId="ADAL" clId="{2B336C00-01BA-44AF-A0C8-66AD9FAE6438}" dt="2022-11-03T15:51:45.247" v="1" actId="47"/>
      <pc:docMkLst>
        <pc:docMk/>
      </pc:docMkLst>
      <pc:sldChg chg="delSp mod">
        <pc:chgData name="Stephanie Phipps" userId="e4a102f2-4ce0-4074-a3a5-5dfcbc0f6262" providerId="ADAL" clId="{2B336C00-01BA-44AF-A0C8-66AD9FAE6438}" dt="2022-11-03T15:51:34.851" v="0" actId="478"/>
        <pc:sldMkLst>
          <pc:docMk/>
          <pc:sldMk cId="2196844344" sldId="409"/>
        </pc:sldMkLst>
        <pc:spChg chg="del">
          <ac:chgData name="Stephanie Phipps" userId="e4a102f2-4ce0-4074-a3a5-5dfcbc0f6262" providerId="ADAL" clId="{2B336C00-01BA-44AF-A0C8-66AD9FAE6438}" dt="2022-11-03T15:51:34.851" v="0" actId="478"/>
          <ac:spMkLst>
            <pc:docMk/>
            <pc:sldMk cId="2196844344" sldId="409"/>
            <ac:spMk id="14" creationId="{7D24424B-2E31-4AF2-B0EF-DE387432E4C8}"/>
          </ac:spMkLst>
        </pc:spChg>
      </pc:sldChg>
      <pc:sldChg chg="del">
        <pc:chgData name="Stephanie Phipps" userId="e4a102f2-4ce0-4074-a3a5-5dfcbc0f6262" providerId="ADAL" clId="{2B336C00-01BA-44AF-A0C8-66AD9FAE6438}" dt="2022-11-03T15:51:45.247" v="1" actId="47"/>
        <pc:sldMkLst>
          <pc:docMk/>
          <pc:sldMk cId="406848676" sldId="410"/>
        </pc:sldMkLst>
      </pc:sldChg>
    </pc:docChg>
  </pc:docChgLst>
  <pc:docChgLst>
    <pc:chgData name="Mona Cailler" userId="18abebce-e030-4141-80fc-48a6e6ea544f" providerId="ADAL" clId="{264A04CF-96D5-4EB0-A09E-F1830C26C974}"/>
    <pc:docChg chg="undo custSel addSld delSld modSld replTag">
      <pc:chgData name="Mona Cailler" userId="18abebce-e030-4141-80fc-48a6e6ea544f" providerId="ADAL" clId="{264A04CF-96D5-4EB0-A09E-F1830C26C974}" dt="2022-08-18T15:01:27.365" v="511"/>
      <pc:docMkLst>
        <pc:docMk/>
      </pc:docMkLst>
      <pc:sldChg chg="addSp delSp modSp mod">
        <pc:chgData name="Mona Cailler" userId="18abebce-e030-4141-80fc-48a6e6ea544f" providerId="ADAL" clId="{264A04CF-96D5-4EB0-A09E-F1830C26C974}" dt="2022-08-18T14:42:01.434" v="508" actId="552"/>
        <pc:sldMkLst>
          <pc:docMk/>
          <pc:sldMk cId="2196844344" sldId="409"/>
        </pc:sldMkLst>
        <pc:spChg chg="mod">
          <ac:chgData name="Mona Cailler" userId="18abebce-e030-4141-80fc-48a6e6ea544f" providerId="ADAL" clId="{264A04CF-96D5-4EB0-A09E-F1830C26C974}" dt="2022-08-18T14:27:51.417" v="78" actId="20577"/>
          <ac:spMkLst>
            <pc:docMk/>
            <pc:sldMk cId="2196844344" sldId="409"/>
            <ac:spMk id="2" creationId="{9DB80380-DAC1-4782-BEF7-438DF498042F}"/>
          </ac:spMkLst>
        </pc:spChg>
        <pc:spChg chg="add del mod modVis">
          <ac:chgData name="Mona Cailler" userId="18abebce-e030-4141-80fc-48a6e6ea544f" providerId="ADAL" clId="{264A04CF-96D5-4EB0-A09E-F1830C26C974}" dt="2022-08-18T14:27:34.542" v="58"/>
          <ac:spMkLst>
            <pc:docMk/>
            <pc:sldMk cId="2196844344" sldId="409"/>
            <ac:spMk id="3" creationId="{93C51ED5-8AB9-D723-8DFA-D86CF429A4FF}"/>
          </ac:spMkLst>
        </pc:spChg>
        <pc:spChg chg="mod">
          <ac:chgData name="Mona Cailler" userId="18abebce-e030-4141-80fc-48a6e6ea544f" providerId="ADAL" clId="{264A04CF-96D5-4EB0-A09E-F1830C26C974}" dt="2022-08-18T14:27:51.440" v="96" actId="947"/>
          <ac:spMkLst>
            <pc:docMk/>
            <pc:sldMk cId="2196844344" sldId="409"/>
            <ac:spMk id="5" creationId="{00000000-0000-0000-0000-000000000000}"/>
          </ac:spMkLst>
        </pc:spChg>
        <pc:spChg chg="add del mod modVis">
          <ac:chgData name="Mona Cailler" userId="18abebce-e030-4141-80fc-48a6e6ea544f" providerId="ADAL" clId="{264A04CF-96D5-4EB0-A09E-F1830C26C974}" dt="2022-08-18T14:27:52.140" v="232"/>
          <ac:spMkLst>
            <pc:docMk/>
            <pc:sldMk cId="2196844344" sldId="409"/>
            <ac:spMk id="6" creationId="{76719AC6-B303-5B59-9C1F-5DDEC3D36EFE}"/>
          </ac:spMkLst>
        </pc:spChg>
        <pc:spChg chg="mod">
          <ac:chgData name="Mona Cailler" userId="18abebce-e030-4141-80fc-48a6e6ea544f" providerId="ADAL" clId="{264A04CF-96D5-4EB0-A09E-F1830C26C974}" dt="2022-08-18T14:39:36.441" v="432"/>
          <ac:spMkLst>
            <pc:docMk/>
            <pc:sldMk cId="2196844344" sldId="409"/>
            <ac:spMk id="9" creationId="{583F52F8-D7E7-42FD-9FB5-8F23B04017AF}"/>
          </ac:spMkLst>
        </pc:spChg>
        <pc:spChg chg="mod">
          <ac:chgData name="Mona Cailler" userId="18abebce-e030-4141-80fc-48a6e6ea544f" providerId="ADAL" clId="{264A04CF-96D5-4EB0-A09E-F1830C26C974}" dt="2022-08-18T14:27:51.373" v="68" actId="20577"/>
          <ac:spMkLst>
            <pc:docMk/>
            <pc:sldMk cId="2196844344" sldId="409"/>
            <ac:spMk id="10" creationId="{61377206-80FD-70D9-F275-16A075FFD142}"/>
          </ac:spMkLst>
        </pc:spChg>
        <pc:spChg chg="add del mod modVis">
          <ac:chgData name="Mona Cailler" userId="18abebce-e030-4141-80fc-48a6e6ea544f" providerId="ADAL" clId="{264A04CF-96D5-4EB0-A09E-F1830C26C974}" dt="2022-08-18T14:29:12.169" v="284"/>
          <ac:spMkLst>
            <pc:docMk/>
            <pc:sldMk cId="2196844344" sldId="409"/>
            <ac:spMk id="12" creationId="{4F6AC248-1921-B9A1-2AB1-9ECA96B1C406}"/>
          </ac:spMkLst>
        </pc:spChg>
        <pc:spChg chg="add del mod modVis">
          <ac:chgData name="Mona Cailler" userId="18abebce-e030-4141-80fc-48a6e6ea544f" providerId="ADAL" clId="{264A04CF-96D5-4EB0-A09E-F1830C26C974}" dt="2022-08-18T14:29:14.883" v="329"/>
          <ac:spMkLst>
            <pc:docMk/>
            <pc:sldMk cId="2196844344" sldId="409"/>
            <ac:spMk id="13" creationId="{104CA467-120E-75D9-58B0-A635DBA0B084}"/>
          </ac:spMkLst>
        </pc:spChg>
        <pc:spChg chg="mod">
          <ac:chgData name="Mona Cailler" userId="18abebce-e030-4141-80fc-48a6e6ea544f" providerId="ADAL" clId="{264A04CF-96D5-4EB0-A09E-F1830C26C974}" dt="2022-08-18T14:27:51.470" v="108" actId="20577"/>
          <ac:spMkLst>
            <pc:docMk/>
            <pc:sldMk cId="2196844344" sldId="409"/>
            <ac:spMk id="14" creationId="{7D24424B-2E31-4AF2-B0EF-DE387432E4C8}"/>
          </ac:spMkLst>
        </pc:spChg>
        <pc:spChg chg="mod">
          <ac:chgData name="Mona Cailler" userId="18abebce-e030-4141-80fc-48a6e6ea544f" providerId="ADAL" clId="{264A04CF-96D5-4EB0-A09E-F1830C26C974}" dt="2022-08-18T14:27:51.472" v="110" actId="947"/>
          <ac:spMkLst>
            <pc:docMk/>
            <pc:sldMk cId="2196844344" sldId="409"/>
            <ac:spMk id="15" creationId="{0B60456B-59B0-49CD-B48C-E239D0AE9C79}"/>
          </ac:spMkLst>
        </pc:spChg>
        <pc:spChg chg="add del mod modVis">
          <ac:chgData name="Mona Cailler" userId="18abebce-e030-4141-80fc-48a6e6ea544f" providerId="ADAL" clId="{264A04CF-96D5-4EB0-A09E-F1830C26C974}" dt="2022-08-18T14:29:15.529" v="374"/>
          <ac:spMkLst>
            <pc:docMk/>
            <pc:sldMk cId="2196844344" sldId="409"/>
            <ac:spMk id="16" creationId="{3946D111-1571-C162-7C0A-003F2316F826}"/>
          </ac:spMkLst>
        </pc:spChg>
        <pc:spChg chg="mod">
          <ac:chgData name="Mona Cailler" userId="18abebce-e030-4141-80fc-48a6e6ea544f" providerId="ADAL" clId="{264A04CF-96D5-4EB0-A09E-F1830C26C974}" dt="2022-08-18T14:27:51.480" v="114" actId="947"/>
          <ac:spMkLst>
            <pc:docMk/>
            <pc:sldMk cId="2196844344" sldId="409"/>
            <ac:spMk id="17" creationId="{56730387-AB38-4BD3-8BEF-3E2AD30166BE}"/>
          </ac:spMkLst>
        </pc:spChg>
        <pc:spChg chg="mod">
          <ac:chgData name="Mona Cailler" userId="18abebce-e030-4141-80fc-48a6e6ea544f" providerId="ADAL" clId="{264A04CF-96D5-4EB0-A09E-F1830C26C974}" dt="2022-08-18T14:27:51.451" v="102" actId="947"/>
          <ac:spMkLst>
            <pc:docMk/>
            <pc:sldMk cId="2196844344" sldId="409"/>
            <ac:spMk id="18" creationId="{CD815132-54BE-619F-F073-A6ABF886B36E}"/>
          </ac:spMkLst>
        </pc:spChg>
        <pc:spChg chg="add del mod modVis">
          <ac:chgData name="Mona Cailler" userId="18abebce-e030-4141-80fc-48a6e6ea544f" providerId="ADAL" clId="{264A04CF-96D5-4EB0-A09E-F1830C26C974}" dt="2022-08-18T14:29:46.302" v="419"/>
          <ac:spMkLst>
            <pc:docMk/>
            <pc:sldMk cId="2196844344" sldId="409"/>
            <ac:spMk id="19" creationId="{C041FDBE-13CE-C992-9713-7426DE3FBB13}"/>
          </ac:spMkLst>
        </pc:spChg>
        <pc:spChg chg="mod">
          <ac:chgData name="Mona Cailler" userId="18abebce-e030-4141-80fc-48a6e6ea544f" providerId="ADAL" clId="{264A04CF-96D5-4EB0-A09E-F1830C26C974}" dt="2022-08-18T14:27:51.482" v="116" actId="947"/>
          <ac:spMkLst>
            <pc:docMk/>
            <pc:sldMk cId="2196844344" sldId="409"/>
            <ac:spMk id="20" creationId="{3755F2A3-0232-4810-9B87-E44C00CFA2C3}"/>
          </ac:spMkLst>
        </pc:spChg>
        <pc:spChg chg="mod">
          <ac:chgData name="Mona Cailler" userId="18abebce-e030-4141-80fc-48a6e6ea544f" providerId="ADAL" clId="{264A04CF-96D5-4EB0-A09E-F1830C26C974}" dt="2022-08-18T14:27:51.443" v="98" actId="947"/>
          <ac:spMkLst>
            <pc:docMk/>
            <pc:sldMk cId="2196844344" sldId="409"/>
            <ac:spMk id="21" creationId="{456453DA-7801-403F-A2F8-78475AC760DB}"/>
          </ac:spMkLst>
        </pc:spChg>
        <pc:spChg chg="mod">
          <ac:chgData name="Mona Cailler" userId="18abebce-e030-4141-80fc-48a6e6ea544f" providerId="ADAL" clId="{264A04CF-96D5-4EB0-A09E-F1830C26C974}" dt="2022-08-18T14:27:51.488" v="122" actId="947"/>
          <ac:spMkLst>
            <pc:docMk/>
            <pc:sldMk cId="2196844344" sldId="409"/>
            <ac:spMk id="22" creationId="{80C1D2F2-4193-4008-943E-64CC6220B7E0}"/>
          </ac:spMkLst>
        </pc:spChg>
        <pc:spChg chg="mod">
          <ac:chgData name="Mona Cailler" userId="18abebce-e030-4141-80fc-48a6e6ea544f" providerId="ADAL" clId="{264A04CF-96D5-4EB0-A09E-F1830C26C974}" dt="2022-08-18T14:27:51.492" v="128" actId="947"/>
          <ac:spMkLst>
            <pc:docMk/>
            <pc:sldMk cId="2196844344" sldId="409"/>
            <ac:spMk id="28" creationId="{2085FFA0-1F0D-4CD4-9BA2-74276A00880B}"/>
          </ac:spMkLst>
        </pc:spChg>
        <pc:spChg chg="mod">
          <ac:chgData name="Mona Cailler" userId="18abebce-e030-4141-80fc-48a6e6ea544f" providerId="ADAL" clId="{264A04CF-96D5-4EB0-A09E-F1830C26C974}" dt="2022-08-18T14:27:51.503" v="136" actId="947"/>
          <ac:spMkLst>
            <pc:docMk/>
            <pc:sldMk cId="2196844344" sldId="409"/>
            <ac:spMk id="30" creationId="{C11170B0-D436-4CA6-9233-1424F780167C}"/>
          </ac:spMkLst>
        </pc:spChg>
        <pc:spChg chg="mod">
          <ac:chgData name="Mona Cailler" userId="18abebce-e030-4141-80fc-48a6e6ea544f" providerId="ADAL" clId="{264A04CF-96D5-4EB0-A09E-F1830C26C974}" dt="2022-08-18T14:27:51.409" v="72" actId="947"/>
          <ac:spMkLst>
            <pc:docMk/>
            <pc:sldMk cId="2196844344" sldId="409"/>
            <ac:spMk id="54" creationId="{00000000-0000-0000-0000-000000000000}"/>
          </ac:spMkLst>
        </pc:spChg>
        <pc:spChg chg="mod">
          <ac:chgData name="Mona Cailler" userId="18abebce-e030-4141-80fc-48a6e6ea544f" providerId="ADAL" clId="{264A04CF-96D5-4EB0-A09E-F1830C26C974}" dt="2022-08-18T14:27:51.523" v="156" actId="947"/>
          <ac:spMkLst>
            <pc:docMk/>
            <pc:sldMk cId="2196844344" sldId="409"/>
            <ac:spMk id="61" creationId="{BC1F0891-698A-4A68-BCBD-41B6D094154F}"/>
          </ac:spMkLst>
        </pc:spChg>
        <pc:spChg chg="mod">
          <ac:chgData name="Mona Cailler" userId="18abebce-e030-4141-80fc-48a6e6ea544f" providerId="ADAL" clId="{264A04CF-96D5-4EB0-A09E-F1830C26C974}" dt="2022-08-18T14:27:51.547" v="178" actId="20577"/>
          <ac:spMkLst>
            <pc:docMk/>
            <pc:sldMk cId="2196844344" sldId="409"/>
            <ac:spMk id="63" creationId="{587BCCB9-AA83-4BB5-9AEC-20C6A05AC437}"/>
          </ac:spMkLst>
        </pc:spChg>
        <pc:spChg chg="mod">
          <ac:chgData name="Mona Cailler" userId="18abebce-e030-4141-80fc-48a6e6ea544f" providerId="ADAL" clId="{264A04CF-96D5-4EB0-A09E-F1830C26C974}" dt="2022-08-18T14:27:51.495" v="132" actId="20577"/>
          <ac:spMkLst>
            <pc:docMk/>
            <pc:sldMk cId="2196844344" sldId="409"/>
            <ac:spMk id="67" creationId="{9918EB64-A908-4F2E-ABB6-B2D26B604A0A}"/>
          </ac:spMkLst>
        </pc:spChg>
        <pc:spChg chg="mod">
          <ac:chgData name="Mona Cailler" userId="18abebce-e030-4141-80fc-48a6e6ea544f" providerId="ADAL" clId="{264A04CF-96D5-4EB0-A09E-F1830C26C974}" dt="2022-08-18T14:27:51.363" v="64" actId="20577"/>
          <ac:spMkLst>
            <pc:docMk/>
            <pc:sldMk cId="2196844344" sldId="409"/>
            <ac:spMk id="68" creationId="{F7BFB6C2-1E15-4649-A114-8FCE33F77849}"/>
          </ac:spMkLst>
        </pc:spChg>
        <pc:spChg chg="mod">
          <ac:chgData name="Mona Cailler" userId="18abebce-e030-4141-80fc-48a6e6ea544f" providerId="ADAL" clId="{264A04CF-96D5-4EB0-A09E-F1830C26C974}" dt="2022-08-18T14:27:51.486" v="120" actId="20577"/>
          <ac:spMkLst>
            <pc:docMk/>
            <pc:sldMk cId="2196844344" sldId="409"/>
            <ac:spMk id="69" creationId="{75130609-1B95-4157-A3CE-05016AEF3DF9}"/>
          </ac:spMkLst>
        </pc:spChg>
        <pc:spChg chg="mod">
          <ac:chgData name="Mona Cailler" userId="18abebce-e030-4141-80fc-48a6e6ea544f" providerId="ADAL" clId="{264A04CF-96D5-4EB0-A09E-F1830C26C974}" dt="2022-08-18T14:27:51.514" v="146" actId="20577"/>
          <ac:spMkLst>
            <pc:docMk/>
            <pc:sldMk cId="2196844344" sldId="409"/>
            <ac:spMk id="70" creationId="{AB920EE1-2B02-4421-9268-0E3D9F63FB94}"/>
          </ac:spMkLst>
        </pc:spChg>
        <pc:spChg chg="mod">
          <ac:chgData name="Mona Cailler" userId="18abebce-e030-4141-80fc-48a6e6ea544f" providerId="ADAL" clId="{264A04CF-96D5-4EB0-A09E-F1830C26C974}" dt="2022-08-18T14:27:51.491" v="126" actId="20577"/>
          <ac:spMkLst>
            <pc:docMk/>
            <pc:sldMk cId="2196844344" sldId="409"/>
            <ac:spMk id="71" creationId="{B36E0435-A200-47CC-87C6-692D849C005D}"/>
          </ac:spMkLst>
        </pc:spChg>
        <pc:spChg chg="mod">
          <ac:chgData name="Mona Cailler" userId="18abebce-e030-4141-80fc-48a6e6ea544f" providerId="ADAL" clId="{264A04CF-96D5-4EB0-A09E-F1830C26C974}" dt="2022-08-18T14:27:51.398" v="70" actId="947"/>
          <ac:spMkLst>
            <pc:docMk/>
            <pc:sldMk cId="2196844344" sldId="409"/>
            <ac:spMk id="72" creationId="{00000000-0000-0000-0000-000000000000}"/>
          </ac:spMkLst>
        </pc:spChg>
        <pc:spChg chg="mod">
          <ac:chgData name="Mona Cailler" userId="18abebce-e030-4141-80fc-48a6e6ea544f" providerId="ADAL" clId="{264A04CF-96D5-4EB0-A09E-F1830C26C974}" dt="2022-08-18T14:27:51.520" v="154" actId="20577"/>
          <ac:spMkLst>
            <pc:docMk/>
            <pc:sldMk cId="2196844344" sldId="409"/>
            <ac:spMk id="73" creationId="{8CA107F1-2F1A-455E-9C6B-F0CE62168090}"/>
          </ac:spMkLst>
        </pc:spChg>
        <pc:spChg chg="mod">
          <ac:chgData name="Mona Cailler" userId="18abebce-e030-4141-80fc-48a6e6ea544f" providerId="ADAL" clId="{264A04CF-96D5-4EB0-A09E-F1830C26C974}" dt="2022-08-18T14:27:51.474" v="112" actId="947"/>
          <ac:spMkLst>
            <pc:docMk/>
            <pc:sldMk cId="2196844344" sldId="409"/>
            <ac:spMk id="75" creationId="{343FBD5D-B1DE-4D2F-8985-52E986BBF86F}"/>
          </ac:spMkLst>
        </pc:spChg>
        <pc:spChg chg="mod">
          <ac:chgData name="Mona Cailler" userId="18abebce-e030-4141-80fc-48a6e6ea544f" providerId="ADAL" clId="{264A04CF-96D5-4EB0-A09E-F1830C26C974}" dt="2022-08-18T14:42:01.434" v="508" actId="552"/>
          <ac:spMkLst>
            <pc:docMk/>
            <pc:sldMk cId="2196844344" sldId="409"/>
            <ac:spMk id="76" creationId="{83E91B64-A084-DD85-748D-63986177C203}"/>
          </ac:spMkLst>
        </pc:spChg>
        <pc:spChg chg="mod">
          <ac:chgData name="Mona Cailler" userId="18abebce-e030-4141-80fc-48a6e6ea544f" providerId="ADAL" clId="{264A04CF-96D5-4EB0-A09E-F1830C26C974}" dt="2022-08-18T14:27:51.524" v="158" actId="947"/>
          <ac:spMkLst>
            <pc:docMk/>
            <pc:sldMk cId="2196844344" sldId="409"/>
            <ac:spMk id="77" creationId="{CABC7165-8D86-4A33-BA50-50E795850532}"/>
          </ac:spMkLst>
        </pc:spChg>
        <pc:spChg chg="mod">
          <ac:chgData name="Mona Cailler" userId="18abebce-e030-4141-80fc-48a6e6ea544f" providerId="ADAL" clId="{264A04CF-96D5-4EB0-A09E-F1830C26C974}" dt="2022-08-18T14:27:51.434" v="92" actId="20577"/>
          <ac:spMkLst>
            <pc:docMk/>
            <pc:sldMk cId="2196844344" sldId="409"/>
            <ac:spMk id="78" creationId="{98F7892F-2862-4C5F-894D-C38162D47E2C}"/>
          </ac:spMkLst>
        </pc:spChg>
        <pc:spChg chg="mod">
          <ac:chgData name="Mona Cailler" userId="18abebce-e030-4141-80fc-48a6e6ea544f" providerId="ADAL" clId="{264A04CF-96D5-4EB0-A09E-F1830C26C974}" dt="2022-08-18T14:42:01.434" v="508" actId="552"/>
          <ac:spMkLst>
            <pc:docMk/>
            <pc:sldMk cId="2196844344" sldId="409"/>
            <ac:spMk id="80" creationId="{1E2DD336-1112-4E5A-9DB1-E95D376C343D}"/>
          </ac:spMkLst>
        </pc:spChg>
        <pc:spChg chg="mod">
          <ac:chgData name="Mona Cailler" userId="18abebce-e030-4141-80fc-48a6e6ea544f" providerId="ADAL" clId="{264A04CF-96D5-4EB0-A09E-F1830C26C974}" dt="2022-08-18T14:42:01.434" v="508" actId="552"/>
          <ac:spMkLst>
            <pc:docMk/>
            <pc:sldMk cId="2196844344" sldId="409"/>
            <ac:spMk id="82" creationId="{D3CD39D8-9ABD-D14F-85B8-657103EB45EB}"/>
          </ac:spMkLst>
        </pc:spChg>
        <pc:spChg chg="mod">
          <ac:chgData name="Mona Cailler" userId="18abebce-e030-4141-80fc-48a6e6ea544f" providerId="ADAL" clId="{264A04CF-96D5-4EB0-A09E-F1830C26C974}" dt="2022-08-18T14:29:46.251" v="378"/>
          <ac:spMkLst>
            <pc:docMk/>
            <pc:sldMk cId="2196844344" sldId="409"/>
            <ac:spMk id="86" creationId="{00000000-0000-0000-0000-000000000000}"/>
          </ac:spMkLst>
        </pc:spChg>
        <pc:spChg chg="mod">
          <ac:chgData name="Mona Cailler" userId="18abebce-e030-4141-80fc-48a6e6ea544f" providerId="ADAL" clId="{264A04CF-96D5-4EB0-A09E-F1830C26C974}" dt="2022-08-18T14:27:51.414" v="74" actId="947"/>
          <ac:spMkLst>
            <pc:docMk/>
            <pc:sldMk cId="2196844344" sldId="409"/>
            <ac:spMk id="88" creationId="{D3B0ACF3-62EE-A282-FE4B-CBB896D4E541}"/>
          </ac:spMkLst>
        </pc:spChg>
        <pc:spChg chg="mod">
          <ac:chgData name="Mona Cailler" userId="18abebce-e030-4141-80fc-48a6e6ea544f" providerId="ADAL" clId="{264A04CF-96D5-4EB0-A09E-F1830C26C974}" dt="2022-08-18T14:27:51.553" v="182" actId="947"/>
          <ac:spMkLst>
            <pc:docMk/>
            <pc:sldMk cId="2196844344" sldId="409"/>
            <ac:spMk id="89" creationId="{DE5E58CE-5D34-06BA-DEDF-B26BC390BC5A}"/>
          </ac:spMkLst>
        </pc:spChg>
        <pc:spChg chg="mod">
          <ac:chgData name="Mona Cailler" userId="18abebce-e030-4141-80fc-48a6e6ea544f" providerId="ADAL" clId="{264A04CF-96D5-4EB0-A09E-F1830C26C974}" dt="2022-08-18T14:27:51.559" v="186" actId="947"/>
          <ac:spMkLst>
            <pc:docMk/>
            <pc:sldMk cId="2196844344" sldId="409"/>
            <ac:spMk id="90" creationId="{A2F27A64-FDE7-7F98-57A4-F3662EDE43A7}"/>
          </ac:spMkLst>
        </pc:spChg>
        <pc:spChg chg="mod">
          <ac:chgData name="Mona Cailler" userId="18abebce-e030-4141-80fc-48a6e6ea544f" providerId="ADAL" clId="{264A04CF-96D5-4EB0-A09E-F1830C26C974}" dt="2022-08-18T14:27:51.557" v="184" actId="947"/>
          <ac:spMkLst>
            <pc:docMk/>
            <pc:sldMk cId="2196844344" sldId="409"/>
            <ac:spMk id="92" creationId="{1DDE3209-458C-B629-7DFE-731765F7A57B}"/>
          </ac:spMkLst>
        </pc:spChg>
        <pc:spChg chg="mod">
          <ac:chgData name="Mona Cailler" userId="18abebce-e030-4141-80fc-48a6e6ea544f" providerId="ADAL" clId="{264A04CF-96D5-4EB0-A09E-F1830C26C974}" dt="2022-08-18T14:27:51.526" v="160" actId="947"/>
          <ac:spMkLst>
            <pc:docMk/>
            <pc:sldMk cId="2196844344" sldId="409"/>
            <ac:spMk id="93" creationId="{02790813-7D2D-4AA2-A715-B97A32787C36}"/>
          </ac:spMkLst>
        </pc:spChg>
        <pc:spChg chg="mod">
          <ac:chgData name="Mona Cailler" userId="18abebce-e030-4141-80fc-48a6e6ea544f" providerId="ADAL" clId="{264A04CF-96D5-4EB0-A09E-F1830C26C974}" dt="2022-08-18T14:27:51.528" v="162" actId="947"/>
          <ac:spMkLst>
            <pc:docMk/>
            <pc:sldMk cId="2196844344" sldId="409"/>
            <ac:spMk id="94" creationId="{87E59D86-100B-498E-824F-3B3C28E57EC9}"/>
          </ac:spMkLst>
        </pc:spChg>
        <pc:spChg chg="mod">
          <ac:chgData name="Mona Cailler" userId="18abebce-e030-4141-80fc-48a6e6ea544f" providerId="ADAL" clId="{264A04CF-96D5-4EB0-A09E-F1830C26C974}" dt="2022-08-18T14:27:51.529" v="164" actId="947"/>
          <ac:spMkLst>
            <pc:docMk/>
            <pc:sldMk cId="2196844344" sldId="409"/>
            <ac:spMk id="95" creationId="{E1183762-6C28-403F-B685-A46CDAFFA417}"/>
          </ac:spMkLst>
        </pc:spChg>
        <pc:spChg chg="mod">
          <ac:chgData name="Mona Cailler" userId="18abebce-e030-4141-80fc-48a6e6ea544f" providerId="ADAL" clId="{264A04CF-96D5-4EB0-A09E-F1830C26C974}" dt="2022-08-18T14:27:51.438" v="94" actId="947"/>
          <ac:spMkLst>
            <pc:docMk/>
            <pc:sldMk cId="2196844344" sldId="409"/>
            <ac:spMk id="100" creationId="{1A19A017-B2DA-48AA-B91F-64D63F92184D}"/>
          </ac:spMkLst>
        </pc:spChg>
        <pc:spChg chg="mod">
          <ac:chgData name="Mona Cailler" userId="18abebce-e030-4141-80fc-48a6e6ea544f" providerId="ADAL" clId="{264A04CF-96D5-4EB0-A09E-F1830C26C974}" dt="2022-08-18T14:27:51.531" v="166" actId="947"/>
          <ac:spMkLst>
            <pc:docMk/>
            <pc:sldMk cId="2196844344" sldId="409"/>
            <ac:spMk id="101" creationId="{4F6C4853-1F58-43B7-8CF0-588B75275719}"/>
          </ac:spMkLst>
        </pc:spChg>
        <pc:spChg chg="mod">
          <ac:chgData name="Mona Cailler" userId="18abebce-e030-4141-80fc-48a6e6ea544f" providerId="ADAL" clId="{264A04CF-96D5-4EB0-A09E-F1830C26C974}" dt="2022-08-18T14:27:51.447" v="100" actId="947"/>
          <ac:spMkLst>
            <pc:docMk/>
            <pc:sldMk cId="2196844344" sldId="409"/>
            <ac:spMk id="102" creationId="{00000000-0000-0000-0000-000000000000}"/>
          </ac:spMkLst>
        </pc:spChg>
        <pc:spChg chg="mod">
          <ac:chgData name="Mona Cailler" userId="18abebce-e030-4141-80fc-48a6e6ea544f" providerId="ADAL" clId="{264A04CF-96D5-4EB0-A09E-F1830C26C974}" dt="2022-08-18T14:30:31.603" v="428"/>
          <ac:spMkLst>
            <pc:docMk/>
            <pc:sldMk cId="2196844344" sldId="409"/>
            <ac:spMk id="103" creationId="{00000000-0000-0000-0000-000000000000}"/>
          </ac:spMkLst>
        </pc:spChg>
        <pc:spChg chg="mod">
          <ac:chgData name="Mona Cailler" userId="18abebce-e030-4141-80fc-48a6e6ea544f" providerId="ADAL" clId="{264A04CF-96D5-4EB0-A09E-F1830C26C974}" dt="2022-08-18T14:27:51.563" v="190" actId="20577"/>
          <ac:spMkLst>
            <pc:docMk/>
            <pc:sldMk cId="2196844344" sldId="409"/>
            <ac:spMk id="105" creationId="{52721C1F-EE31-0B23-A45E-0D7FE5F00D65}"/>
          </ac:spMkLst>
        </pc:spChg>
        <pc:spChg chg="mod">
          <ac:chgData name="Mona Cailler" userId="18abebce-e030-4141-80fc-48a6e6ea544f" providerId="ADAL" clId="{264A04CF-96D5-4EB0-A09E-F1830C26C974}" dt="2022-08-18T14:27:51.421" v="82" actId="20577"/>
          <ac:spMkLst>
            <pc:docMk/>
            <pc:sldMk cId="2196844344" sldId="409"/>
            <ac:spMk id="106" creationId="{557E2FD3-484F-DD70-CD8E-22DEF4AF9673}"/>
          </ac:spMkLst>
        </pc:spChg>
        <pc:spChg chg="mod">
          <ac:chgData name="Mona Cailler" userId="18abebce-e030-4141-80fc-48a6e6ea544f" providerId="ADAL" clId="{264A04CF-96D5-4EB0-A09E-F1830C26C974}" dt="2022-08-18T14:27:51.431" v="88" actId="20577"/>
          <ac:spMkLst>
            <pc:docMk/>
            <pc:sldMk cId="2196844344" sldId="409"/>
            <ac:spMk id="107" creationId="{DB68E761-2ED2-5379-5339-D4D0E771F794}"/>
          </ac:spMkLst>
        </pc:spChg>
        <pc:spChg chg="mod">
          <ac:chgData name="Mona Cailler" userId="18abebce-e030-4141-80fc-48a6e6ea544f" providerId="ADAL" clId="{264A04CF-96D5-4EB0-A09E-F1830C26C974}" dt="2022-08-18T14:42:01.434" v="508" actId="552"/>
          <ac:spMkLst>
            <pc:docMk/>
            <pc:sldMk cId="2196844344" sldId="409"/>
            <ac:spMk id="109" creationId="{F409736E-E8F7-8F50-C3FC-A735950FB72D}"/>
          </ac:spMkLst>
        </pc:spChg>
        <pc:spChg chg="mod">
          <ac:chgData name="Mona Cailler" userId="18abebce-e030-4141-80fc-48a6e6ea544f" providerId="ADAL" clId="{264A04CF-96D5-4EB0-A09E-F1830C26C974}" dt="2022-08-18T14:27:51.508" v="140" actId="947"/>
          <ac:spMkLst>
            <pc:docMk/>
            <pc:sldMk cId="2196844344" sldId="409"/>
            <ac:spMk id="111" creationId="{FB08F01D-D205-41A8-87CF-D8B4125AA9FF}"/>
          </ac:spMkLst>
        </pc:spChg>
        <pc:spChg chg="mod">
          <ac:chgData name="Mona Cailler" userId="18abebce-e030-4141-80fc-48a6e6ea544f" providerId="ADAL" clId="{264A04CF-96D5-4EB0-A09E-F1830C26C974}" dt="2022-08-18T14:27:51.535" v="168" actId="947"/>
          <ac:spMkLst>
            <pc:docMk/>
            <pc:sldMk cId="2196844344" sldId="409"/>
            <ac:spMk id="112" creationId="{E981A14D-4B8F-4259-92AC-DD4DC6336609}"/>
          </ac:spMkLst>
        </pc:spChg>
        <pc:spChg chg="mod">
          <ac:chgData name="Mona Cailler" userId="18abebce-e030-4141-80fc-48a6e6ea544f" providerId="ADAL" clId="{264A04CF-96D5-4EB0-A09E-F1830C26C974}" dt="2022-08-18T14:27:51.540" v="172" actId="947"/>
          <ac:spMkLst>
            <pc:docMk/>
            <pc:sldMk cId="2196844344" sldId="409"/>
            <ac:spMk id="128" creationId="{D475C894-42A1-478D-B145-65768F223021}"/>
          </ac:spMkLst>
        </pc:spChg>
        <pc:spChg chg="mod">
          <ac:chgData name="Mona Cailler" userId="18abebce-e030-4141-80fc-48a6e6ea544f" providerId="ADAL" clId="{264A04CF-96D5-4EB0-A09E-F1830C26C974}" dt="2022-08-18T14:27:51.539" v="170" actId="947"/>
          <ac:spMkLst>
            <pc:docMk/>
            <pc:sldMk cId="2196844344" sldId="409"/>
            <ac:spMk id="129" creationId="{1B4B191D-3F74-4AB5-BBA0-DFD2C735C004}"/>
          </ac:spMkLst>
        </pc:spChg>
        <pc:spChg chg="mod">
          <ac:chgData name="Mona Cailler" userId="18abebce-e030-4141-80fc-48a6e6ea544f" providerId="ADAL" clId="{264A04CF-96D5-4EB0-A09E-F1830C26C974}" dt="2022-08-18T14:27:51.501" v="134" actId="947"/>
          <ac:spMkLst>
            <pc:docMk/>
            <pc:sldMk cId="2196844344" sldId="409"/>
            <ac:spMk id="133" creationId="{0E90EA0A-CBAA-469F-9814-CB724A971336}"/>
          </ac:spMkLst>
        </pc:spChg>
        <pc:spChg chg="mod">
          <ac:chgData name="Mona Cailler" userId="18abebce-e030-4141-80fc-48a6e6ea544f" providerId="ADAL" clId="{264A04CF-96D5-4EB0-A09E-F1830C26C974}" dt="2022-08-18T14:27:51.517" v="150" actId="947"/>
          <ac:spMkLst>
            <pc:docMk/>
            <pc:sldMk cId="2196844344" sldId="409"/>
            <ac:spMk id="178" creationId="{2B706D9C-D112-48A8-9CF7-876FA779B276}"/>
          </ac:spMkLst>
        </pc:spChg>
        <pc:spChg chg="mod">
          <ac:chgData name="Mona Cailler" userId="18abebce-e030-4141-80fc-48a6e6ea544f" providerId="ADAL" clId="{264A04CF-96D5-4EB0-A09E-F1830C26C974}" dt="2022-08-18T14:27:51.515" v="148" actId="947"/>
          <ac:spMkLst>
            <pc:docMk/>
            <pc:sldMk cId="2196844344" sldId="409"/>
            <ac:spMk id="193" creationId="{27B5639E-F9BB-4AB0-9043-5B5E193DBEF3}"/>
          </ac:spMkLst>
        </pc:spChg>
        <pc:graphicFrameChg chg="mod">
          <ac:chgData name="Mona Cailler" userId="18abebce-e030-4141-80fc-48a6e6ea544f" providerId="ADAL" clId="{264A04CF-96D5-4EB0-A09E-F1830C26C974}" dt="2022-08-18T14:29:46.304" v="421"/>
          <ac:graphicFrameMkLst>
            <pc:docMk/>
            <pc:sldMk cId="2196844344" sldId="409"/>
            <ac:graphicFrameMk id="7" creationId="{00000000-0000-0000-0000-000000000000}"/>
          </ac:graphicFrameMkLst>
        </pc:graphicFrameChg>
      </pc:sldChg>
      <pc:sldChg chg="add">
        <pc:chgData name="Mona Cailler" userId="18abebce-e030-4141-80fc-48a6e6ea544f" providerId="ADAL" clId="{264A04CF-96D5-4EB0-A09E-F1830C26C974}" dt="2022-08-18T15:01:27.365" v="511"/>
        <pc:sldMkLst>
          <pc:docMk/>
          <pc:sldMk cId="406848676" sldId="410"/>
        </pc:sldMkLst>
      </pc:sldChg>
      <pc:sldChg chg="del">
        <pc:chgData name="Mona Cailler" userId="18abebce-e030-4141-80fc-48a6e6ea544f" providerId="ADAL" clId="{264A04CF-96D5-4EB0-A09E-F1830C26C974}" dt="2022-08-18T15:01:22.882" v="509" actId="47"/>
        <pc:sldMkLst>
          <pc:docMk/>
          <pc:sldMk cId="2926901226" sldId="410"/>
        </pc:sldMkLst>
      </pc:sldChg>
      <pc:sldChg chg="modSp add del mod">
        <pc:chgData name="Mona Cailler" userId="18abebce-e030-4141-80fc-48a6e6ea544f" providerId="ADAL" clId="{264A04CF-96D5-4EB0-A09E-F1830C26C974}" dt="2022-08-18T15:01:25.835" v="510" actId="47"/>
        <pc:sldMkLst>
          <pc:docMk/>
          <pc:sldMk cId="3407807286" sldId="411"/>
        </pc:sldMkLst>
        <pc:spChg chg="mod">
          <ac:chgData name="Mona Cailler" userId="18abebce-e030-4141-80fc-48a6e6ea544f" providerId="ADAL" clId="{264A04CF-96D5-4EB0-A09E-F1830C26C974}" dt="2022-08-18T14:33:31.556" v="430" actId="20577"/>
          <ac:spMkLst>
            <pc:docMk/>
            <pc:sldMk cId="3407807286" sldId="411"/>
            <ac:spMk id="9" creationId="{583F52F8-D7E7-42FD-9FB5-8F23B04017AF}"/>
          </ac:spMkLst>
        </pc:spChg>
      </pc:sldChg>
    </pc:docChg>
  </pc:docChgLst>
  <pc:docChgLst>
    <pc:chgData name="Friederike Teutsch" userId="b1c99ed9-49ae-4f77-aaca-917ff73ec7e1" providerId="ADAL" clId="{90143906-EFED-4263-911E-03A643DA5EE1}"/>
    <pc:docChg chg="custSel modSld replTag">
      <pc:chgData name="Friederike Teutsch" userId="b1c99ed9-49ae-4f77-aaca-917ff73ec7e1" providerId="ADAL" clId="{90143906-EFED-4263-911E-03A643DA5EE1}" dt="2022-10-21T14:30:21.369" v="138" actId="6549"/>
      <pc:docMkLst>
        <pc:docMk/>
      </pc:docMkLst>
      <pc:sldChg chg="addSp delSp modSp mod">
        <pc:chgData name="Friederike Teutsch" userId="b1c99ed9-49ae-4f77-aaca-917ff73ec7e1" providerId="ADAL" clId="{90143906-EFED-4263-911E-03A643DA5EE1}" dt="2022-10-21T14:30:10.804" v="90"/>
        <pc:sldMkLst>
          <pc:docMk/>
          <pc:sldMk cId="2196844344" sldId="409"/>
        </pc:sldMkLst>
        <pc:spChg chg="add del mod modVis">
          <ac:chgData name="Friederike Teutsch" userId="b1c99ed9-49ae-4f77-aaca-917ff73ec7e1" providerId="ADAL" clId="{90143906-EFED-4263-911E-03A643DA5EE1}" dt="2022-10-21T14:30:10.188" v="43"/>
          <ac:spMkLst>
            <pc:docMk/>
            <pc:sldMk cId="2196844344" sldId="409"/>
            <ac:spMk id="3" creationId="{3F1540DA-9E0E-46B9-44CC-63AD2900A833}"/>
          </ac:spMkLst>
        </pc:spChg>
        <pc:spChg chg="add del mod modVis">
          <ac:chgData name="Friederike Teutsch" userId="b1c99ed9-49ae-4f77-aaca-917ff73ec7e1" providerId="ADAL" clId="{90143906-EFED-4263-911E-03A643DA5EE1}" dt="2022-10-21T14:30:10.801" v="88"/>
          <ac:spMkLst>
            <pc:docMk/>
            <pc:sldMk cId="2196844344" sldId="409"/>
            <ac:spMk id="6" creationId="{F2655B29-F865-4A48-5E15-43352AF5769C}"/>
          </ac:spMkLst>
        </pc:spChg>
        <pc:spChg chg="mod">
          <ac:chgData name="Friederike Teutsch" userId="b1c99ed9-49ae-4f77-aaca-917ff73ec7e1" providerId="ADAL" clId="{90143906-EFED-4263-911E-03A643DA5EE1}" dt="2022-10-21T14:30:05.341" v="0" actId="6549"/>
          <ac:spMkLst>
            <pc:docMk/>
            <pc:sldMk cId="2196844344" sldId="409"/>
            <ac:spMk id="72" creationId="{00000000-0000-0000-0000-000000000000}"/>
          </ac:spMkLst>
        </pc:spChg>
        <pc:spChg chg="mod">
          <ac:chgData name="Friederike Teutsch" userId="b1c99ed9-49ae-4f77-aaca-917ff73ec7e1" providerId="ADAL" clId="{90143906-EFED-4263-911E-03A643DA5EE1}" dt="2022-10-21T14:30:10.728" v="47"/>
          <ac:spMkLst>
            <pc:docMk/>
            <pc:sldMk cId="2196844344" sldId="409"/>
            <ac:spMk id="86" creationId="{00000000-0000-0000-0000-000000000000}"/>
          </ac:spMkLst>
        </pc:spChg>
        <pc:graphicFrameChg chg="mod">
          <ac:chgData name="Friederike Teutsch" userId="b1c99ed9-49ae-4f77-aaca-917ff73ec7e1" providerId="ADAL" clId="{90143906-EFED-4263-911E-03A643DA5EE1}" dt="2022-10-21T14:30:10.804" v="90"/>
          <ac:graphicFrameMkLst>
            <pc:docMk/>
            <pc:sldMk cId="2196844344" sldId="409"/>
            <ac:graphicFrameMk id="7" creationId="{00000000-0000-0000-0000-000000000000}"/>
          </ac:graphicFrameMkLst>
        </pc:graphicFrameChg>
      </pc:sldChg>
      <pc:sldChg chg="addSp delSp modSp mod">
        <pc:chgData name="Friederike Teutsch" userId="b1c99ed9-49ae-4f77-aaca-917ff73ec7e1" providerId="ADAL" clId="{90143906-EFED-4263-911E-03A643DA5EE1}" dt="2022-10-21T14:30:21.369" v="138" actId="6549"/>
        <pc:sldMkLst>
          <pc:docMk/>
          <pc:sldMk cId="406848676" sldId="410"/>
        </pc:sldMkLst>
        <pc:spChg chg="add del mod modVis">
          <ac:chgData name="Friederike Teutsch" userId="b1c99ed9-49ae-4f77-aaca-917ff73ec7e1" providerId="ADAL" clId="{90143906-EFED-4263-911E-03A643DA5EE1}" dt="2022-10-21T14:30:16.755" v="135"/>
          <ac:spMkLst>
            <pc:docMk/>
            <pc:sldMk cId="406848676" sldId="410"/>
            <ac:spMk id="3" creationId="{FAB06824-2608-05A8-280D-F3E0D2FB26C1}"/>
          </ac:spMkLst>
        </pc:spChg>
        <pc:spChg chg="mod">
          <ac:chgData name="Friederike Teutsch" userId="b1c99ed9-49ae-4f77-aaca-917ff73ec7e1" providerId="ADAL" clId="{90143906-EFED-4263-911E-03A643DA5EE1}" dt="2022-10-21T14:30:21.369" v="138" actId="6549"/>
          <ac:spMkLst>
            <pc:docMk/>
            <pc:sldMk cId="406848676" sldId="410"/>
            <ac:spMk id="72" creationId="{00000000-0000-0000-0000-000000000000}"/>
          </ac:spMkLst>
        </pc:spChg>
        <pc:spChg chg="mod">
          <ac:chgData name="Friederike Teutsch" userId="b1c99ed9-49ae-4f77-aaca-917ff73ec7e1" providerId="ADAL" clId="{90143906-EFED-4263-911E-03A643DA5EE1}" dt="2022-10-21T14:30:16.671" v="94"/>
          <ac:spMkLst>
            <pc:docMk/>
            <pc:sldMk cId="406848676" sldId="410"/>
            <ac:spMk id="86" creationId="{00000000-0000-0000-0000-000000000000}"/>
          </ac:spMkLst>
        </pc:spChg>
        <pc:graphicFrameChg chg="mod">
          <ac:chgData name="Friederike Teutsch" userId="b1c99ed9-49ae-4f77-aaca-917ff73ec7e1" providerId="ADAL" clId="{90143906-EFED-4263-911E-03A643DA5EE1}" dt="2022-10-21T14:30:16.758" v="137"/>
          <ac:graphicFrameMkLst>
            <pc:docMk/>
            <pc:sldMk cId="406848676" sldId="410"/>
            <ac:graphicFrameMk id="7" creationId="{00000000-0000-0000-0000-000000000000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8F33C-B9AE-49AE-9112-66A135CECFE3}" type="datetimeFigureOut">
              <a:rPr lang="en-US" smtClean="0"/>
              <a:t>11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quez pour modifier les styles du texte principal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4DDADE-7B0F-47D0-8A47-5F7FB25EA9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175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22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 20" descr="FD_1_L254.png"/>
          <p:cNvPicPr>
            <a:picLocks/>
          </p:cNvPicPr>
          <p:nvPr userDrawn="1"/>
        </p:nvPicPr>
        <p:blipFill>
          <a:blip r:embed="rId5" cstate="print"/>
          <a:stretch>
            <a:fillRect/>
          </a:stretch>
        </p:blipFill>
        <p:spPr bwMode="ltGray">
          <a:xfrm>
            <a:off x="1" y="-7257"/>
            <a:ext cx="12192000" cy="5157788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24417" y="2958308"/>
            <a:ext cx="5123240" cy="323165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2100" b="1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24417" y="3529965"/>
            <a:ext cx="5123240" cy="230832"/>
          </a:xfrm>
        </p:spPr>
        <p:txBody>
          <a:bodyPr wrap="square">
            <a:spAutoFit/>
          </a:bodyPr>
          <a:lstStyle>
            <a:lvl1pPr>
              <a:defRPr sz="1500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27" name="McK Title Elements" hidden="1"/>
          <p:cNvGrpSpPr/>
          <p:nvPr userDrawn="1"/>
        </p:nvGrpSpPr>
        <p:grpSpPr bwMode="auto">
          <a:xfrm>
            <a:off x="624418" y="4309457"/>
            <a:ext cx="5385256" cy="376618"/>
            <a:chOff x="1037261" y="5404470"/>
            <a:chExt cx="4038942" cy="37661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037261" y="5404470"/>
              <a:ext cx="4038942" cy="1615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037261" y="5619505"/>
              <a:ext cx="4038942" cy="1615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21" name="Image 19" descr="Bas_couv.png"/>
          <p:cNvPicPr>
            <a:picLocks noChangeAspect="1"/>
          </p:cNvPicPr>
          <p:nvPr userDrawn="1"/>
        </p:nvPicPr>
        <p:blipFill>
          <a:blip r:embed="rId6" cstate="print"/>
          <a:srcRect r="60243" b="722"/>
          <a:stretch>
            <a:fillRect/>
          </a:stretch>
        </p:blipFill>
        <p:spPr bwMode="auto">
          <a:xfrm>
            <a:off x="4" y="5172520"/>
            <a:ext cx="4847167" cy="1685480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 bwMode="auto">
          <a:xfrm>
            <a:off x="624417" y="3391895"/>
            <a:ext cx="3264000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11257880" y="6354203"/>
            <a:ext cx="573875" cy="1154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r">
              <a:defRPr/>
            </a:pPr>
            <a:r>
              <a:rPr lang="en-US" sz="750" kern="0">
                <a:solidFill>
                  <a:srgbClr val="95D600"/>
                </a:solidFill>
              </a:rPr>
              <a:t>www.gavi.org</a:t>
            </a:r>
          </a:p>
        </p:txBody>
      </p:sp>
      <p:pic>
        <p:nvPicPr>
          <p:cNvPr id="17541" name="Picture 133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16" t="42028" r="1467" b="15943"/>
          <a:stretch/>
        </p:blipFill>
        <p:spPr bwMode="auto">
          <a:xfrm>
            <a:off x="10324686" y="6190074"/>
            <a:ext cx="1519768" cy="164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Placeholder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r="18213"/>
          <a:stretch>
            <a:fillRect/>
          </a:stretch>
        </p:blipFill>
        <p:spPr bwMode="ltGray">
          <a:xfrm>
            <a:off x="5590118" y="-11869"/>
            <a:ext cx="6601883" cy="51624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rgbClr val="878787"/>
          </a:solidFill>
          <a:ln w="3175">
            <a:noFill/>
          </a:ln>
        </p:spPr>
      </p:pic>
    </p:spTree>
    <p:extLst>
      <p:ext uri="{BB962C8B-B14F-4D97-AF65-F5344CB8AC3E}">
        <p14:creationId xmlns:p14="http://schemas.microsoft.com/office/powerpoint/2010/main" val="2927110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4763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3758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5392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0036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1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017544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1500" b="0" i="0" u="none" cap="none" baseline="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5203" y="2649113"/>
            <a:ext cx="585302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quez pour modifier les styles du texte principal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  <a:p>
            <a:pPr lvl="4"/>
            <a:r>
              <a:rPr lang="en-US" noProof="0"/>
              <a:t>Cinquième niveau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252" y="524828"/>
            <a:ext cx="11471506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quez pour modifier le style du titre principal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252" y="-1025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252" y="847209"/>
            <a:ext cx="11471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808080"/>
                </a:solidFill>
                <a:latin typeface="Arial"/>
              </a:rPr>
              <a:t>Unité de mesure</a:t>
            </a:r>
          </a:p>
        </p:txBody>
      </p:sp>
      <p:grpSp>
        <p:nvGrpSpPr>
          <p:cNvPr id="3" name="Slide Elements" hidden="1"/>
          <p:cNvGrpSpPr/>
          <p:nvPr/>
        </p:nvGrpSpPr>
        <p:grpSpPr bwMode="auto">
          <a:xfrm>
            <a:off x="360250" y="6362520"/>
            <a:ext cx="9520352" cy="324227"/>
            <a:chOff x="121488" y="6396911"/>
            <a:chExt cx="8794113" cy="32422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21488" y="6396911"/>
              <a:ext cx="8794113" cy="115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>
                  <a:solidFill>
                    <a:srgbClr val="000000"/>
                  </a:solidFill>
                  <a:latin typeface="Arial"/>
                </a:rPr>
                <a:t>1 Note de bas de pag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21488" y="6605722"/>
              <a:ext cx="8794112" cy="115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352432" indent="-352432" defTabSz="685159" fontAlgn="base">
                <a:spcBef>
                  <a:spcPct val="0"/>
                </a:spcBef>
                <a:spcAft>
                  <a:spcPct val="0"/>
                </a:spcAft>
                <a:tabLst>
                  <a:tab pos="356004" algn="l"/>
                </a:tabLst>
              </a:pPr>
              <a:r>
                <a:rPr lang="en-US" sz="750">
                  <a:solidFill>
                    <a:srgbClr val="000000"/>
                  </a:solidFill>
                </a:rPr>
                <a:t>Source : Source :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225203" y="2220268"/>
            <a:ext cx="5853024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>
                  <a:solidFill>
                    <a:srgbClr val="000000"/>
                  </a:solidFill>
                </a:rPr>
                <a:t>Titr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rgbClr val="808080"/>
                  </a:solidFill>
                </a:rPr>
                <a:t>Unité de me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10813652" y="489178"/>
            <a:ext cx="723901" cy="984251"/>
            <a:chOff x="4936" y="176"/>
            <a:chExt cx="342" cy="620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10403006" y="489178"/>
            <a:ext cx="1134535" cy="684213"/>
            <a:chOff x="4750" y="176"/>
            <a:chExt cx="536" cy="431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11021778" y="489176"/>
            <a:ext cx="809964" cy="166199"/>
            <a:chOff x="8133302" y="285750"/>
            <a:chExt cx="607473" cy="166199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8133302" y="285750"/>
              <a:ext cx="607473" cy="1661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808080"/>
                  </a:solidFill>
                </a:rPr>
                <a:t>PRÉLIMINAIRE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8133302" y="285750"/>
              <a:ext cx="0" cy="16619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8133302" y="451949"/>
              <a:ext cx="6074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10724518" y="489174"/>
            <a:ext cx="812288" cy="1306516"/>
            <a:chOff x="6655594" y="273840"/>
            <a:chExt cx="6092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égende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11823191" y="6565552"/>
            <a:ext cx="105799" cy="10387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75" smtClean="0">
                <a:solidFill>
                  <a:srgbClr val="000000"/>
                </a:solidFill>
              </a:rPr>
              <a:t>‹#›</a:t>
            </a:fld>
            <a:endParaRPr lang="en-US" sz="675">
              <a:solidFill>
                <a:srgbClr val="000000"/>
              </a:solidFill>
            </a:endParaRPr>
          </a:p>
        </p:txBody>
      </p:sp>
      <p:grpSp>
        <p:nvGrpSpPr>
          <p:cNvPr id="67" name="McK 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10724513" y="2274832"/>
            <a:ext cx="338667" cy="254000"/>
            <a:chOff x="1600" y="1600"/>
            <a:chExt cx="160" cy="160"/>
          </a:xfrm>
        </p:grpSpPr>
        <p:sp>
          <p:nvSpPr>
            <p:cNvPr id="68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69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71" name="Rectangle 70"/>
          <p:cNvSpPr/>
          <p:nvPr/>
        </p:nvSpPr>
        <p:spPr bwMode="auto">
          <a:xfrm>
            <a:off x="360249" y="788830"/>
            <a:ext cx="2111557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  <p:pic>
        <p:nvPicPr>
          <p:cNvPr id="70" name="Image 12" descr="Logo_suite_50x30.png"/>
          <p:cNvPicPr>
            <a:picLocks noChangeAspect="1"/>
          </p:cNvPicPr>
          <p:nvPr/>
        </p:nvPicPr>
        <p:blipFill rotWithShape="1">
          <a:blip r:embed="rId29" cstate="print"/>
          <a:srcRect l="10380" t="40368" r="25400" b="16785"/>
          <a:stretch/>
        </p:blipFill>
        <p:spPr bwMode="auto">
          <a:xfrm>
            <a:off x="10041133" y="6305736"/>
            <a:ext cx="1541270" cy="461963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 bwMode="auto">
          <a:xfrm>
            <a:off x="10080444" y="6199978"/>
            <a:ext cx="2111557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238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dt="0"/>
  <p:txStyles>
    <p:titleStyle>
      <a:lvl1pPr algn="l" defTabSz="685159" rtl="0" eaLnBrk="1" fontAlgn="base" hangingPunct="1">
        <a:spcBef>
          <a:spcPct val="0"/>
        </a:spcBef>
        <a:spcAft>
          <a:spcPct val="0"/>
        </a:spcAft>
        <a:tabLst>
          <a:tab pos="206519" algn="l"/>
        </a:tabLst>
        <a:defRPr sz="1500" b="0" cap="none" baseline="0">
          <a:solidFill>
            <a:schemeClr val="accent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8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36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603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72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8" indent="-146993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8" indent="-200445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35" indent="-119052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8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36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603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72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40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207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75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943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377206-80FD-70D9-F275-16A075FFD142}"/>
              </a:ext>
            </a:extLst>
          </p:cNvPr>
          <p:cNvSpPr/>
          <p:nvPr/>
        </p:nvSpPr>
        <p:spPr>
          <a:xfrm>
            <a:off x="40222" y="54183"/>
            <a:ext cx="2903316" cy="174359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B80380-DAC1-4782-BEF7-438DF498042F}"/>
              </a:ext>
            </a:extLst>
          </p:cNvPr>
          <p:cNvSpPr/>
          <p:nvPr/>
        </p:nvSpPr>
        <p:spPr>
          <a:xfrm>
            <a:off x="10019123" y="6056659"/>
            <a:ext cx="2153786" cy="80134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6768325"/>
              </p:ext>
            </p:ext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 Unicode MS" panose="020B0604020202020204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22455" y="817336"/>
            <a:ext cx="1991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ÉSULTATS</a:t>
            </a:r>
          </a:p>
        </p:txBody>
      </p:sp>
      <p:sp>
        <p:nvSpPr>
          <p:cNvPr id="102" name="Pentagon 101"/>
          <p:cNvSpPr/>
          <p:nvPr/>
        </p:nvSpPr>
        <p:spPr>
          <a:xfrm>
            <a:off x="175873" y="174633"/>
            <a:ext cx="5920128" cy="553999"/>
          </a:xfrm>
          <a:prstGeom prst="homePlate">
            <a:avLst>
              <a:gd name="adj" fmla="val 1839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1" i="1" u="none" strike="noStrike" kern="1200" cap="none" spc="0" normalizeH="0" baseline="0" noProof="0" dirty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1" u="none" strike="noStrike" kern="1200" cap="none" spc="0" normalizeH="0" baseline="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e...</a:t>
            </a:r>
          </a:p>
          <a:p>
            <a:pPr marL="0" marR="0" lvl="0" indent="0" algn="l" defTabSz="6858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i="1" dirty="0">
                <a:solidFill>
                  <a:srgbClr val="343434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(Expliquer la situation/contexte actuel</a:t>
            </a:r>
            <a:r>
              <a:rPr lang="fr-FR" sz="1000" dirty="0">
                <a:solidFill>
                  <a:srgbClr val="343434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)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1" i="1" u="none" strike="noStrike" kern="1200" cap="none" spc="0" normalizeH="0" baseline="0" noProof="0" dirty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03" name="Chevron 102"/>
          <p:cNvSpPr/>
          <p:nvPr/>
        </p:nvSpPr>
        <p:spPr>
          <a:xfrm>
            <a:off x="6167120" y="174633"/>
            <a:ext cx="5985269" cy="549977"/>
          </a:xfrm>
          <a:prstGeom prst="chevron">
            <a:avLst>
              <a:gd name="adj" fmla="val 2363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À...</a:t>
            </a:r>
          </a:p>
          <a:p>
            <a:pPr marL="0" marR="0" lvl="0" indent="0" algn="l" defTabSz="9144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i="1" dirty="0">
                <a:solidFill>
                  <a:prstClr val="white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(Expliquer la vision future/les souhaits ultimes pour le système national de vaccination)</a:t>
            </a:r>
            <a:endParaRPr kumimoji="0" lang="fr-FR" sz="857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86" name="Title 1"/>
          <p:cNvSpPr>
            <a:spLocks noGrp="1"/>
          </p:cNvSpPr>
          <p:nvPr>
            <p:ph type="title"/>
          </p:nvPr>
        </p:nvSpPr>
        <p:spPr>
          <a:xfrm>
            <a:off x="4126939" y="18246"/>
            <a:ext cx="4074383" cy="169277"/>
          </a:xfrm>
          <a:solidFill>
            <a:schemeClr val="bg1"/>
          </a:solidFill>
        </p:spPr>
        <p:txBody>
          <a:bodyPr vert="horz"/>
          <a:lstStyle/>
          <a:p>
            <a:pPr algn="ctr"/>
            <a:r>
              <a:rPr lang="fr-FR" sz="11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èle pour la THEORIE DU CHANGEMENT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90438" y="816153"/>
            <a:ext cx="25087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NJEUX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369597" y="778440"/>
            <a:ext cx="2061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NTERVENTION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3F52F8-D7E7-42FD-9FB5-8F23B04017AF}"/>
              </a:ext>
            </a:extLst>
          </p:cNvPr>
          <p:cNvSpPr txBox="1"/>
          <p:nvPr/>
        </p:nvSpPr>
        <p:spPr>
          <a:xfrm>
            <a:off x="6463493" y="801225"/>
            <a:ext cx="904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PRODUIT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60456B-59B0-49CD-B48C-E239D0AE9C79}"/>
              </a:ext>
            </a:extLst>
          </p:cNvPr>
          <p:cNvSpPr txBox="1"/>
          <p:nvPr/>
        </p:nvSpPr>
        <p:spPr>
          <a:xfrm>
            <a:off x="3138218" y="5498222"/>
            <a:ext cx="2696843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601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730387-AB38-4BD3-8BEF-3E2AD30166BE}"/>
              </a:ext>
            </a:extLst>
          </p:cNvPr>
          <p:cNvSpPr txBox="1"/>
          <p:nvPr/>
        </p:nvSpPr>
        <p:spPr>
          <a:xfrm>
            <a:off x="6220554" y="5163111"/>
            <a:ext cx="2490788" cy="27699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100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55 Roman"/>
                <a:ea typeface="ＭＳ Ｐゴシック"/>
              </a:rPr>
              <a:t>xx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55F2A3-0232-4810-9B87-E44C00CFA2C3}"/>
              </a:ext>
            </a:extLst>
          </p:cNvPr>
          <p:cNvSpPr txBox="1"/>
          <p:nvPr/>
        </p:nvSpPr>
        <p:spPr>
          <a:xfrm>
            <a:off x="6220553" y="2945591"/>
            <a:ext cx="2490789" cy="28671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6453DA-7801-403F-A2F8-78475AC760DB}"/>
              </a:ext>
            </a:extLst>
          </p:cNvPr>
          <p:cNvSpPr txBox="1"/>
          <p:nvPr/>
        </p:nvSpPr>
        <p:spPr>
          <a:xfrm>
            <a:off x="3141504" y="1624651"/>
            <a:ext cx="2661920" cy="24622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C1D2F2-4193-4008-943E-64CC6220B7E0}"/>
              </a:ext>
            </a:extLst>
          </p:cNvPr>
          <p:cNvSpPr txBox="1"/>
          <p:nvPr/>
        </p:nvSpPr>
        <p:spPr>
          <a:xfrm>
            <a:off x="6216256" y="4073434"/>
            <a:ext cx="2495087" cy="27699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85FFA0-1F0D-4CD4-9BA2-74276A00880B}"/>
              </a:ext>
            </a:extLst>
          </p:cNvPr>
          <p:cNvSpPr txBox="1"/>
          <p:nvPr/>
        </p:nvSpPr>
        <p:spPr>
          <a:xfrm>
            <a:off x="3160404" y="2738087"/>
            <a:ext cx="2648192" cy="24622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1170B0-D436-4CA6-9233-1424F780167C}"/>
              </a:ext>
            </a:extLst>
          </p:cNvPr>
          <p:cNvSpPr txBox="1"/>
          <p:nvPr/>
        </p:nvSpPr>
        <p:spPr>
          <a:xfrm>
            <a:off x="3131212" y="1055700"/>
            <a:ext cx="2661920" cy="24622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A19A017-B2DA-48AA-B91F-64D63F92184D}"/>
              </a:ext>
            </a:extLst>
          </p:cNvPr>
          <p:cNvSpPr txBox="1"/>
          <p:nvPr/>
        </p:nvSpPr>
        <p:spPr>
          <a:xfrm>
            <a:off x="3139660" y="5085878"/>
            <a:ext cx="2704410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B08F01D-D205-41A8-87CF-D8B4125AA9FF}"/>
              </a:ext>
            </a:extLst>
          </p:cNvPr>
          <p:cNvSpPr txBox="1"/>
          <p:nvPr/>
        </p:nvSpPr>
        <p:spPr>
          <a:xfrm>
            <a:off x="3160404" y="3791636"/>
            <a:ext cx="2674657" cy="24474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A68EA5FE-1D62-4834-9B1C-C3FB404646DA}"/>
              </a:ext>
            </a:extLst>
          </p:cNvPr>
          <p:cNvCxnSpPr>
            <a:cxnSpLocks/>
          </p:cNvCxnSpPr>
          <p:nvPr/>
        </p:nvCxnSpPr>
        <p:spPr>
          <a:xfrm flipV="1">
            <a:off x="7003627" y="2668767"/>
            <a:ext cx="134750" cy="18389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27B5639E-F9BB-4AB0-9043-5B5E193DBEF3}"/>
              </a:ext>
            </a:extLst>
          </p:cNvPr>
          <p:cNvSpPr txBox="1"/>
          <p:nvPr/>
        </p:nvSpPr>
        <p:spPr>
          <a:xfrm>
            <a:off x="3141504" y="2255593"/>
            <a:ext cx="2661920" cy="24622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2B706D9C-D112-48A8-9CF7-876FA779B276}"/>
              </a:ext>
            </a:extLst>
          </p:cNvPr>
          <p:cNvSpPr txBox="1"/>
          <p:nvPr/>
        </p:nvSpPr>
        <p:spPr>
          <a:xfrm>
            <a:off x="9026960" y="3482338"/>
            <a:ext cx="2096277" cy="24622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  <a:endParaRPr kumimoji="0" lang="fr-FR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C1F0891-698A-4A68-BCBD-41B6D094154F}"/>
              </a:ext>
            </a:extLst>
          </p:cNvPr>
          <p:cNvSpPr txBox="1"/>
          <p:nvPr/>
        </p:nvSpPr>
        <p:spPr>
          <a:xfrm>
            <a:off x="113504" y="1415803"/>
            <a:ext cx="2568608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  <a:defRPr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xx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xx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43FBD5D-B1DE-4D2F-8985-52E986BBF86F}"/>
              </a:ext>
            </a:extLst>
          </p:cNvPr>
          <p:cNvSpPr txBox="1"/>
          <p:nvPr/>
        </p:nvSpPr>
        <p:spPr>
          <a:xfrm>
            <a:off x="101927" y="2970693"/>
            <a:ext cx="2576260" cy="52322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BC7165-8D86-4A33-BA50-50E795850532}"/>
              </a:ext>
            </a:extLst>
          </p:cNvPr>
          <p:cNvSpPr txBox="1"/>
          <p:nvPr/>
        </p:nvSpPr>
        <p:spPr>
          <a:xfrm>
            <a:off x="66618" y="5005384"/>
            <a:ext cx="2576259" cy="30777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2790813-7D2D-4AA2-A715-B97A32787C36}"/>
              </a:ext>
            </a:extLst>
          </p:cNvPr>
          <p:cNvSpPr txBox="1"/>
          <p:nvPr/>
        </p:nvSpPr>
        <p:spPr>
          <a:xfrm>
            <a:off x="6228974" y="1269950"/>
            <a:ext cx="2463885" cy="27699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7E59D86-100B-498E-824F-3B3C28E57EC9}"/>
              </a:ext>
            </a:extLst>
          </p:cNvPr>
          <p:cNvSpPr txBox="1"/>
          <p:nvPr/>
        </p:nvSpPr>
        <p:spPr>
          <a:xfrm>
            <a:off x="6216876" y="2086024"/>
            <a:ext cx="2495087" cy="27699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1183762-6C28-403F-B685-A46CDAFFA417}"/>
              </a:ext>
            </a:extLst>
          </p:cNvPr>
          <p:cNvSpPr txBox="1"/>
          <p:nvPr/>
        </p:nvSpPr>
        <p:spPr>
          <a:xfrm>
            <a:off x="3162413" y="3107419"/>
            <a:ext cx="2648192" cy="25266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F6C4853-1F58-43B7-8CF0-588B75275719}"/>
              </a:ext>
            </a:extLst>
          </p:cNvPr>
          <p:cNvSpPr txBox="1"/>
          <p:nvPr/>
        </p:nvSpPr>
        <p:spPr>
          <a:xfrm>
            <a:off x="3136947" y="4451385"/>
            <a:ext cx="2704408" cy="24622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981A14D-4B8F-4259-92AC-DD4DC6336609}"/>
              </a:ext>
            </a:extLst>
          </p:cNvPr>
          <p:cNvSpPr txBox="1"/>
          <p:nvPr/>
        </p:nvSpPr>
        <p:spPr>
          <a:xfrm>
            <a:off x="3160403" y="5956209"/>
            <a:ext cx="2683667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D475C894-42A1-478D-B145-65768F223021}"/>
              </a:ext>
            </a:extLst>
          </p:cNvPr>
          <p:cNvSpPr txBox="1"/>
          <p:nvPr/>
        </p:nvSpPr>
        <p:spPr>
          <a:xfrm>
            <a:off x="11201400" y="778440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MPACT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B4B191D-3F74-4AB5-BBA0-DFD2C735C004}"/>
              </a:ext>
            </a:extLst>
          </p:cNvPr>
          <p:cNvSpPr txBox="1"/>
          <p:nvPr/>
        </p:nvSpPr>
        <p:spPr>
          <a:xfrm>
            <a:off x="9029375" y="5107627"/>
            <a:ext cx="2153786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x</a:t>
            </a:r>
            <a:endParaRPr kumimoji="0" lang="fr-FR" sz="100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E90EA0A-CBAA-469F-9814-CB724A971336}"/>
              </a:ext>
            </a:extLst>
          </p:cNvPr>
          <p:cNvSpPr txBox="1"/>
          <p:nvPr/>
        </p:nvSpPr>
        <p:spPr>
          <a:xfrm>
            <a:off x="9050216" y="1927709"/>
            <a:ext cx="2000203" cy="2308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  <a:endParaRPr kumimoji="0" lang="fr-FR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5A5F0F81-ED13-4EF7-80DA-E5B250E59E13}"/>
              </a:ext>
            </a:extLst>
          </p:cNvPr>
          <p:cNvCxnSpPr>
            <a:cxnSpLocks/>
            <a:stCxn id="61" idx="3"/>
            <a:endCxn id="30" idx="1"/>
          </p:cNvCxnSpPr>
          <p:nvPr/>
        </p:nvCxnSpPr>
        <p:spPr>
          <a:xfrm flipV="1">
            <a:off x="2682112" y="1178811"/>
            <a:ext cx="449100" cy="56015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9C5BC434-70B8-4FF6-897C-8DD8AC004031}"/>
              </a:ext>
            </a:extLst>
          </p:cNvPr>
          <p:cNvCxnSpPr>
            <a:cxnSpLocks/>
            <a:stCxn id="61" idx="3"/>
            <a:endCxn id="193" idx="1"/>
          </p:cNvCxnSpPr>
          <p:nvPr/>
        </p:nvCxnSpPr>
        <p:spPr>
          <a:xfrm>
            <a:off x="2682112" y="1738969"/>
            <a:ext cx="459392" cy="63973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BCDF0F01-44E9-4F3A-B434-A01850611F7C}"/>
              </a:ext>
            </a:extLst>
          </p:cNvPr>
          <p:cNvCxnSpPr>
            <a:stCxn id="75" idx="3"/>
            <a:endCxn id="101" idx="1"/>
          </p:cNvCxnSpPr>
          <p:nvPr/>
        </p:nvCxnSpPr>
        <p:spPr>
          <a:xfrm>
            <a:off x="2678187" y="3232303"/>
            <a:ext cx="458760" cy="1342193"/>
          </a:xfrm>
          <a:prstGeom prst="bentConnector3">
            <a:avLst>
              <a:gd name="adj1" fmla="val 52461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ECC7A3F3-8702-4AD0-A78D-FFE18104BDD8}"/>
              </a:ext>
            </a:extLst>
          </p:cNvPr>
          <p:cNvCxnSpPr>
            <a:stCxn id="75" idx="3"/>
            <a:endCxn id="28" idx="1"/>
          </p:cNvCxnSpPr>
          <p:nvPr/>
        </p:nvCxnSpPr>
        <p:spPr>
          <a:xfrm flipV="1">
            <a:off x="2678187" y="2861198"/>
            <a:ext cx="482217" cy="37110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74B410A4-1770-4EAB-ABCA-C17333FDD4EB}"/>
              </a:ext>
            </a:extLst>
          </p:cNvPr>
          <p:cNvCxnSpPr>
            <a:cxnSpLocks/>
            <a:stCxn id="77" idx="3"/>
          </p:cNvCxnSpPr>
          <p:nvPr/>
        </p:nvCxnSpPr>
        <p:spPr>
          <a:xfrm>
            <a:off x="2642877" y="5159273"/>
            <a:ext cx="400928" cy="924119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2E91C0A-B995-4BA9-BEF8-5BAA7FD35EDE}"/>
              </a:ext>
            </a:extLst>
          </p:cNvPr>
          <p:cNvCxnSpPr>
            <a:cxnSpLocks/>
          </p:cNvCxnSpPr>
          <p:nvPr/>
        </p:nvCxnSpPr>
        <p:spPr>
          <a:xfrm>
            <a:off x="2642877" y="5159272"/>
            <a:ext cx="495341" cy="46206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67" name="Right Brace 66">
            <a:extLst>
              <a:ext uri="{FF2B5EF4-FFF2-40B4-BE49-F238E27FC236}">
                <a16:creationId xmlns:a16="http://schemas.microsoft.com/office/drawing/2014/main" id="{9918EB64-A908-4F2E-ABB6-B2D26B604A0A}"/>
              </a:ext>
            </a:extLst>
          </p:cNvPr>
          <p:cNvSpPr/>
          <p:nvPr/>
        </p:nvSpPr>
        <p:spPr>
          <a:xfrm>
            <a:off x="5874132" y="1084316"/>
            <a:ext cx="252701" cy="684469"/>
          </a:xfrm>
          <a:prstGeom prst="rightBrac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8" name="Right Brace 67">
            <a:extLst>
              <a:ext uri="{FF2B5EF4-FFF2-40B4-BE49-F238E27FC236}">
                <a16:creationId xmlns:a16="http://schemas.microsoft.com/office/drawing/2014/main" id="{F7BFB6C2-1E15-4649-A114-8FCE33F77849}"/>
              </a:ext>
            </a:extLst>
          </p:cNvPr>
          <p:cNvSpPr/>
          <p:nvPr/>
        </p:nvSpPr>
        <p:spPr>
          <a:xfrm>
            <a:off x="5864081" y="2700926"/>
            <a:ext cx="252701" cy="647229"/>
          </a:xfrm>
          <a:prstGeom prst="rightBrace">
            <a:avLst>
              <a:gd name="adj1" fmla="val 0"/>
              <a:gd name="adj2" fmla="val 50000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9" name="Right Brace 68">
            <a:extLst>
              <a:ext uri="{FF2B5EF4-FFF2-40B4-BE49-F238E27FC236}">
                <a16:creationId xmlns:a16="http://schemas.microsoft.com/office/drawing/2014/main" id="{75130609-1B95-4157-A3CE-05016AEF3DF9}"/>
              </a:ext>
            </a:extLst>
          </p:cNvPr>
          <p:cNvSpPr/>
          <p:nvPr/>
        </p:nvSpPr>
        <p:spPr>
          <a:xfrm>
            <a:off x="5868409" y="5101774"/>
            <a:ext cx="255740" cy="1079687"/>
          </a:xfrm>
          <a:prstGeom prst="rightBrace">
            <a:avLst>
              <a:gd name="adj1" fmla="val 8333"/>
              <a:gd name="adj2" fmla="val 18633"/>
            </a:avLst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AB920EE1-2B02-4421-9268-0E3D9F63FB94}"/>
              </a:ext>
            </a:extLst>
          </p:cNvPr>
          <p:cNvSpPr/>
          <p:nvPr/>
        </p:nvSpPr>
        <p:spPr>
          <a:xfrm>
            <a:off x="5874133" y="3789854"/>
            <a:ext cx="252700" cy="907752"/>
          </a:xfrm>
          <a:prstGeom prst="rightBrace">
            <a:avLst>
              <a:gd name="adj1" fmla="val 8333"/>
              <a:gd name="adj2" fmla="val 51244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1" name="Right Brace 70">
            <a:extLst>
              <a:ext uri="{FF2B5EF4-FFF2-40B4-BE49-F238E27FC236}">
                <a16:creationId xmlns:a16="http://schemas.microsoft.com/office/drawing/2014/main" id="{B36E0435-A200-47CC-87C6-692D849C005D}"/>
              </a:ext>
            </a:extLst>
          </p:cNvPr>
          <p:cNvSpPr/>
          <p:nvPr/>
        </p:nvSpPr>
        <p:spPr>
          <a:xfrm>
            <a:off x="8726807" y="1276005"/>
            <a:ext cx="261862" cy="1087018"/>
          </a:xfrm>
          <a:prstGeom prst="rightBrace">
            <a:avLst>
              <a:gd name="adj1" fmla="val 17538"/>
              <a:gd name="adj2" fmla="val 71978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3" name="Right Brace 72">
            <a:extLst>
              <a:ext uri="{FF2B5EF4-FFF2-40B4-BE49-F238E27FC236}">
                <a16:creationId xmlns:a16="http://schemas.microsoft.com/office/drawing/2014/main" id="{8CA107F1-2F1A-455E-9C6B-F0CE62168090}"/>
              </a:ext>
            </a:extLst>
          </p:cNvPr>
          <p:cNvSpPr/>
          <p:nvPr/>
        </p:nvSpPr>
        <p:spPr>
          <a:xfrm>
            <a:off x="8761150" y="2946149"/>
            <a:ext cx="178538" cy="1389759"/>
          </a:xfrm>
          <a:prstGeom prst="rightBrace">
            <a:avLst>
              <a:gd name="adj1" fmla="val 3579"/>
              <a:gd name="adj2" fmla="val 47874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ight Brace 77">
            <a:extLst>
              <a:ext uri="{FF2B5EF4-FFF2-40B4-BE49-F238E27FC236}">
                <a16:creationId xmlns:a16="http://schemas.microsoft.com/office/drawing/2014/main" id="{98F7892F-2862-4C5F-894D-C38162D47E2C}"/>
              </a:ext>
            </a:extLst>
          </p:cNvPr>
          <p:cNvSpPr/>
          <p:nvPr/>
        </p:nvSpPr>
        <p:spPr>
          <a:xfrm>
            <a:off x="8732138" y="5159272"/>
            <a:ext cx="211198" cy="276999"/>
          </a:xfrm>
          <a:prstGeom prst="rightBrace">
            <a:avLst>
              <a:gd name="adj1" fmla="val 10173"/>
              <a:gd name="adj2" fmla="val 33938"/>
            </a:avLst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3" name="Right Brace 62">
            <a:extLst>
              <a:ext uri="{FF2B5EF4-FFF2-40B4-BE49-F238E27FC236}">
                <a16:creationId xmlns:a16="http://schemas.microsoft.com/office/drawing/2014/main" id="{587BCCB9-AA83-4BB5-9AEC-20C6A05AC437}"/>
              </a:ext>
            </a:extLst>
          </p:cNvPr>
          <p:cNvSpPr/>
          <p:nvPr/>
        </p:nvSpPr>
        <p:spPr>
          <a:xfrm>
            <a:off x="5874132" y="1797782"/>
            <a:ext cx="252701" cy="684469"/>
          </a:xfrm>
          <a:prstGeom prst="rightBrace">
            <a:avLst>
              <a:gd name="adj1" fmla="val 8333"/>
              <a:gd name="adj2" fmla="val 59896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E2DD336-1112-4E5A-9DB1-E95D376C343D}"/>
              </a:ext>
            </a:extLst>
          </p:cNvPr>
          <p:cNvSpPr txBox="1"/>
          <p:nvPr/>
        </p:nvSpPr>
        <p:spPr>
          <a:xfrm>
            <a:off x="9316769" y="2896494"/>
            <a:ext cx="1578998" cy="461665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Étendr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et atteind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815132-54BE-619F-F073-A6ABF886B36E}"/>
              </a:ext>
            </a:extLst>
          </p:cNvPr>
          <p:cNvSpPr/>
          <p:nvPr/>
        </p:nvSpPr>
        <p:spPr>
          <a:xfrm>
            <a:off x="11571111" y="1458890"/>
            <a:ext cx="507385" cy="48397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900" dirty="0">
                <a:solidFill>
                  <a:schemeClr val="tx1"/>
                </a:solidFill>
              </a:rPr>
              <a:t>xxx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3E91B64-A084-DD85-748D-63986177C203}"/>
              </a:ext>
            </a:extLst>
          </p:cNvPr>
          <p:cNvSpPr txBox="1"/>
          <p:nvPr/>
        </p:nvSpPr>
        <p:spPr>
          <a:xfrm>
            <a:off x="9316769" y="4382471"/>
            <a:ext cx="1578998" cy="64633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Gérer, suivre et tirer les enseignements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3CD39D8-9ABD-D14F-85B8-657103EB45EB}"/>
              </a:ext>
            </a:extLst>
          </p:cNvPr>
          <p:cNvSpPr txBox="1"/>
          <p:nvPr/>
        </p:nvSpPr>
        <p:spPr>
          <a:xfrm>
            <a:off x="9316769" y="1390522"/>
            <a:ext cx="1578998" cy="4572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ntroduire et aller à l'échelle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3B0ACF3-62EE-A282-FE4B-CBB896D4E541}"/>
              </a:ext>
            </a:extLst>
          </p:cNvPr>
          <p:cNvSpPr txBox="1"/>
          <p:nvPr/>
        </p:nvSpPr>
        <p:spPr>
          <a:xfrm>
            <a:off x="6219651" y="6407699"/>
            <a:ext cx="2490788" cy="27699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100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55 Roman"/>
                <a:ea typeface="ＭＳ Ｐゴシック"/>
              </a:rPr>
              <a:t>xx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E5E58CE-5D34-06BA-DEDF-B26BC390BC5A}"/>
              </a:ext>
            </a:extLst>
          </p:cNvPr>
          <p:cNvSpPr txBox="1"/>
          <p:nvPr/>
        </p:nvSpPr>
        <p:spPr>
          <a:xfrm>
            <a:off x="3136946" y="6423089"/>
            <a:ext cx="2704410" cy="24622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2F27A64-FDE7-7F98-57A4-F3662EDE43A7}"/>
              </a:ext>
            </a:extLst>
          </p:cNvPr>
          <p:cNvSpPr txBox="1"/>
          <p:nvPr/>
        </p:nvSpPr>
        <p:spPr>
          <a:xfrm>
            <a:off x="66618" y="6347505"/>
            <a:ext cx="2576259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1DDE3209-458C-B629-7DFE-731765F7A57B}"/>
              </a:ext>
            </a:extLst>
          </p:cNvPr>
          <p:cNvSpPr txBox="1"/>
          <p:nvPr/>
        </p:nvSpPr>
        <p:spPr>
          <a:xfrm>
            <a:off x="9017203" y="6403422"/>
            <a:ext cx="2153786" cy="24622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x</a:t>
            </a:r>
            <a:endParaRPr kumimoji="0" lang="fr-FR" sz="100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05" name="Right Brace 104">
            <a:extLst>
              <a:ext uri="{FF2B5EF4-FFF2-40B4-BE49-F238E27FC236}">
                <a16:creationId xmlns:a16="http://schemas.microsoft.com/office/drawing/2014/main" id="{52721C1F-EE31-0B23-A45E-0D7FE5F00D65}"/>
              </a:ext>
            </a:extLst>
          </p:cNvPr>
          <p:cNvSpPr/>
          <p:nvPr/>
        </p:nvSpPr>
        <p:spPr>
          <a:xfrm>
            <a:off x="5870163" y="6423089"/>
            <a:ext cx="253986" cy="246221"/>
          </a:xfrm>
          <a:prstGeom prst="rightBrace">
            <a:avLst>
              <a:gd name="adj1" fmla="val 10173"/>
              <a:gd name="adj2" fmla="val 33938"/>
            </a:avLst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6" name="Right Brace 105">
            <a:extLst>
              <a:ext uri="{FF2B5EF4-FFF2-40B4-BE49-F238E27FC236}">
                <a16:creationId xmlns:a16="http://schemas.microsoft.com/office/drawing/2014/main" id="{557E2FD3-484F-DD70-CD8E-22DEF4AF9673}"/>
              </a:ext>
            </a:extLst>
          </p:cNvPr>
          <p:cNvSpPr/>
          <p:nvPr/>
        </p:nvSpPr>
        <p:spPr>
          <a:xfrm>
            <a:off x="2707175" y="6334218"/>
            <a:ext cx="336629" cy="349150"/>
          </a:xfrm>
          <a:prstGeom prst="rightBrace">
            <a:avLst>
              <a:gd name="adj1" fmla="val 10173"/>
              <a:gd name="adj2" fmla="val 54561"/>
            </a:avLst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7" name="Right Brace 106">
            <a:extLst>
              <a:ext uri="{FF2B5EF4-FFF2-40B4-BE49-F238E27FC236}">
                <a16:creationId xmlns:a16="http://schemas.microsoft.com/office/drawing/2014/main" id="{DB68E761-2ED2-5379-5339-D4D0E771F794}"/>
              </a:ext>
            </a:extLst>
          </p:cNvPr>
          <p:cNvSpPr/>
          <p:nvPr/>
        </p:nvSpPr>
        <p:spPr>
          <a:xfrm>
            <a:off x="8731695" y="6423462"/>
            <a:ext cx="183049" cy="246221"/>
          </a:xfrm>
          <a:prstGeom prst="rightBrace">
            <a:avLst>
              <a:gd name="adj1" fmla="val 10173"/>
              <a:gd name="adj2" fmla="val 33938"/>
            </a:avLst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409736E-E8F7-8F50-C3FC-A735950FB72D}"/>
              </a:ext>
            </a:extLst>
          </p:cNvPr>
          <p:cNvSpPr txBox="1"/>
          <p:nvPr/>
        </p:nvSpPr>
        <p:spPr>
          <a:xfrm>
            <a:off x="9316769" y="5847543"/>
            <a:ext cx="1578998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ngager et pérenniser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6844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42GT13TmKrB1epzZyi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9ICk_PQ46xZ3Gvn0hF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5_Gavi_CF_GAE403">
  <a:themeElements>
    <a:clrScheme name="Current">
      <a:dk1>
        <a:srgbClr val="000000"/>
      </a:dk1>
      <a:lt1>
        <a:srgbClr val="FFFFFF"/>
      </a:lt1>
      <a:dk2>
        <a:srgbClr val="95D600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808080"/>
      </a:accent6>
      <a:hlink>
        <a:srgbClr val="95D600"/>
      </a:hlink>
      <a:folHlink>
        <a:srgbClr val="A5189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5D600"/>
        </a:dk2>
        <a:lt2>
          <a:srgbClr val="878787"/>
        </a:lt2>
        <a:accent1>
          <a:srgbClr val="005CB9"/>
        </a:accent1>
        <a:accent2>
          <a:srgbClr val="00A1DF"/>
        </a:accent2>
        <a:accent3>
          <a:srgbClr val="95D600"/>
        </a:accent3>
        <a:accent4>
          <a:srgbClr val="A51890"/>
        </a:accent4>
        <a:accent5>
          <a:srgbClr val="CE0F69"/>
        </a:accent5>
        <a:accent6>
          <a:srgbClr val="808080"/>
        </a:accent6>
        <a:hlink>
          <a:srgbClr val="95D600"/>
        </a:hlink>
        <a:folHlink>
          <a:srgbClr val="A518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706217-df7c-4bf4-936d-b09aa3b837af" xsi:nil="true"/>
    <lcf76f155ced4ddcb4097134ff3c332f xmlns="5c2490db-6e42-4989-a0fb-d6ff54a6a7de">
      <Terms xmlns="http://schemas.microsoft.com/office/infopath/2007/PartnerControls"/>
    </lcf76f155ced4ddcb4097134ff3c332f>
    <_dlc_DocId xmlns="55894003-98dc-4f3e-8669-85b90bdbcc8c">GAVI-438364776-972655</_dlc_DocId>
    <_dlc_DocIdUrl xmlns="55894003-98dc-4f3e-8669-85b90bdbcc8c">
      <Url>https://gavinet.sharepoint.com/teams/PAP/srp/_layouts/15/DocIdRedir.aspx?ID=GAVI-438364776-972655</Url>
      <Description>GAVI-438364776-972655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Gavi Document" ma:contentTypeID="0x0101009954897F3EE3CC4ABB9FB9EDAC9CDEBC0061E92A44B5DD2545AEF000129C25E859" ma:contentTypeVersion="209" ma:contentTypeDescription="Gavi Document content type " ma:contentTypeScope="" ma:versionID="3c82f0c0c431ecddf7a9e863def4d301">
  <xsd:schema xmlns:xsd="http://www.w3.org/2001/XMLSchema" xmlns:xs="http://www.w3.org/2001/XMLSchema" xmlns:p="http://schemas.microsoft.com/office/2006/metadata/properties" xmlns:ns2="d0706217-df7c-4bf4-936d-b09aa3b837af" xmlns:ns3="55894003-98dc-4f3e-8669-85b90bdbcc8c" xmlns:ns4="5c2490db-6e42-4989-a0fb-d6ff54a6a7de" targetNamespace="http://schemas.microsoft.com/office/2006/metadata/properties" ma:root="true" ma:fieldsID="4646fe5a8c9fc0ff7027340f19b8308f" ns2:_="" ns3:_="" ns4:_="">
    <xsd:import namespace="d0706217-df7c-4bf4-936d-b09aa3b837af"/>
    <xsd:import namespace="55894003-98dc-4f3e-8669-85b90bdbcc8c"/>
    <xsd:import namespace="5c2490db-6e42-4989-a0fb-d6ff54a6a7d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_dlc_DocId" minOccurs="0"/>
                <xsd:element ref="ns3:_dlc_DocIdUrl" minOccurs="0"/>
                <xsd:element ref="ns3:_dlc_DocIdPersistId" minOccurs="0"/>
                <xsd:element ref="ns2:TaxCatchAllLabel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06217-df7c-4bf4-936d-b09aa3b837af" elementFormDefault="qualified">
    <xsd:import namespace="http://schemas.microsoft.com/office/2006/documentManagement/types"/>
    <xsd:import namespace="http://schemas.microsoft.com/office/infopath/2007/PartnerControls"/>
    <xsd:element name="TaxCatchAll" ma:index="5" nillable="true" ma:displayName="Taxonomy Catch All Column" ma:description="" ma:hidden="true" ma:list="{c405dbff-886d-494b-bfcb-83b334e9f606}" ma:internalName="TaxCatchAll" ma:showField="CatchAllData" ma:web="55894003-98dc-4f3e-8669-85b90bdbcc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description="" ma:hidden="true" ma:list="{c405dbff-886d-494b-bfcb-83b334e9f606}" ma:internalName="TaxCatchAllLabel" ma:readOnly="true" ma:showField="CatchAllDataLabel" ma:web="55894003-98dc-4f3e-8669-85b90bdbcc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894003-98dc-4f3e-8669-85b90bdbcc8c" elementFormDefault="qualified">
    <xsd:import namespace="http://schemas.microsoft.com/office/2006/documentManagement/types"/>
    <xsd:import namespace="http://schemas.microsoft.com/office/infopath/2007/PartnerControls"/>
    <xsd:element name="_dlc_DocId" ma:index="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2490db-6e42-4989-a0fb-d6ff54a6a7de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93cb0222-e980-4273-ad97-85dba3159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SharedContentType xmlns="Microsoft.SharePoint.Taxonomy.ContentTypeSync" SourceId="93cb0222-e980-4273-ad97-85dba3159c09" ContentTypeId="0x0101009954897F3EE3CC4ABB9FB9EDAC9CDEBC" PreviousValue="false"/>
</file>

<file path=customXml/itemProps1.xml><?xml version="1.0" encoding="utf-8"?>
<ds:datastoreItem xmlns:ds="http://schemas.openxmlformats.org/officeDocument/2006/customXml" ds:itemID="{E3D0F925-9F97-4D6C-9171-8C65807620D3}">
  <ds:schemaRefs>
    <ds:schemaRef ds:uri="http://www.w3.org/XML/1998/namespace"/>
    <ds:schemaRef ds:uri="http://schemas.microsoft.com/office/infopath/2007/PartnerControls"/>
    <ds:schemaRef ds:uri="55894003-98dc-4f3e-8669-85b90bdbcc8c"/>
    <ds:schemaRef ds:uri="5c2490db-6e42-4989-a0fb-d6ff54a6a7de"/>
    <ds:schemaRef ds:uri="http://purl.org/dc/terms/"/>
    <ds:schemaRef ds:uri="http://schemas.microsoft.com/office/2006/documentManagement/types"/>
    <ds:schemaRef ds:uri="d0706217-df7c-4bf4-936d-b09aa3b837af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EEFA5ED-8475-47F6-BAE1-A8B1C24681BD}">
  <ds:schemaRefs>
    <ds:schemaRef ds:uri="55894003-98dc-4f3e-8669-85b90bdbcc8c"/>
    <ds:schemaRef ds:uri="5c2490db-6e42-4989-a0fb-d6ff54a6a7de"/>
    <ds:schemaRef ds:uri="d0706217-df7c-4bf4-936d-b09aa3b837a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EEB6847-4C76-4C5B-94F8-1DB7434AD68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F7B9E32-0509-46D0-91E7-42F421EA0AB5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F18C54E7-3822-4059-915A-5EA659D90228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</Words>
  <Application>Microsoft Office PowerPoint</Application>
  <PresentationFormat>Widescreen</PresentationFormat>
  <Paragraphs>4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rutiger 55 Roman</vt:lpstr>
      <vt:lpstr>Symbol</vt:lpstr>
      <vt:lpstr>Wingdings</vt:lpstr>
      <vt:lpstr>5_Gavi_CF_GAE403</vt:lpstr>
      <vt:lpstr>think-cell Slide</vt:lpstr>
      <vt:lpstr>Modèle pour la THEORIE DU CHANG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ORY OF  CHANGE: Kyrgyzstan</dc:title>
  <dc:creator>Stephanie Phipps</dc:creator>
  <cp:keywords>, docId:E55331F03FE1C10895AFFADFC4EC7B1D</cp:keywords>
  <cp:lastModifiedBy>Stephanie Phipps</cp:lastModifiedBy>
  <cp:revision>3</cp:revision>
  <dcterms:created xsi:type="dcterms:W3CDTF">2022-05-31T16:35:09Z</dcterms:created>
  <dcterms:modified xsi:type="dcterms:W3CDTF">2022-11-03T15:5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5-31T16:35:40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7a69bc96-b03f-4532-baa0-000046e34b43</vt:lpwstr>
  </property>
  <property fmtid="{D5CDD505-2E9C-101B-9397-08002B2CF9AE}" pid="8" name="MSIP_Label_0a957285-7815-485a-9751-5b273b784ad5_ContentBits">
    <vt:lpwstr>0</vt:lpwstr>
  </property>
  <property fmtid="{D5CDD505-2E9C-101B-9397-08002B2CF9AE}" pid="9" name="ContentTypeId">
    <vt:lpwstr>0x0101009954897F3EE3CC4ABB9FB9EDAC9CDEBC0061E92A44B5DD2545AEF000129C25E859</vt:lpwstr>
  </property>
  <property fmtid="{D5CDD505-2E9C-101B-9397-08002B2CF9AE}" pid="10" name="_dlc_DocIdItemGuid">
    <vt:lpwstr>a902582f-725e-4e7b-8419-9fcb44ae2088</vt:lpwstr>
  </property>
  <property fmtid="{D5CDD505-2E9C-101B-9397-08002B2CF9AE}" pid="11" name="MediaServiceImageTags">
    <vt:lpwstr/>
  </property>
  <property fmtid="{D5CDD505-2E9C-101B-9397-08002B2CF9AE}" pid="12" name="kfa83adfad8641678ddaedda80d7e126">
    <vt:lpwstr/>
  </property>
  <property fmtid="{D5CDD505-2E9C-101B-9397-08002B2CF9AE}" pid="13" name="Test">
    <vt:lpwstr/>
  </property>
</Properties>
</file>